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DA2EA294-131D-4486-BAF3-3EECCFFA441A}">
          <p14:sldIdLst>
            <p14:sldId id="2147475173"/>
            <p14:sldId id="2147475174"/>
            <p14:sldId id="2147475175"/>
            <p14:sldId id="2147475176"/>
            <p14:sldId id="2147475177"/>
            <p14:sldId id="2147475178"/>
          </p14:sldIdLst>
        </p14:section>
        <p14:section name="Brackets By Retailer By Sector" id="{C8EDA37D-4CE3-4957-BE37-1038D1DCC04C}">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8823285A-B1C1-4E10-B05D-A5D2B839A57B}">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62418341201551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319490077683078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02398526255849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960830729772854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324483152821131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59907231898217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4569659001722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90875868009677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474363382928485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1215727245976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705518922463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74430728606346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76563220360538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8180301582623563E-2</c:v>
                </c:pt>
                <c:pt idx="3">
                  <c:v>0.911818969199043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9394875305366822E-3</c:v>
                </c:pt>
                <c:pt idx="3">
                  <c:v>0.998060512469463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7.9777318076716171E-3</c:v>
                </c:pt>
                <c:pt idx="3">
                  <c:v>0.9920222681923284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79585311759224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59218134353886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23279279617345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01975352170918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225190923216192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863285683688994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4.03720563311543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937021038456817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9814295835819224E-2</c:v>
                </c:pt>
                <c:pt idx="3">
                  <c:v>0.9701850975307599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4.208549500729120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9.569493270692720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14519833874691E-3</c:v>
                </c:pt>
                <c:pt idx="3">
                  <c:v>0.996838340243620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842547093468564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0413012749260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331157249195105E-2</c:v>
                </c:pt>
                <c:pt idx="3">
                  <c:v>0.9756673522100912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221770435415506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57996352549133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7173444326659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9.518821305351296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12140558623432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848909765554824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5.4508642763262975E-3</c:v>
                </c:pt>
                <c:pt idx="3">
                  <c:v>0.994549017129398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189711187394342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02286355530656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91681028498738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740585454256223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14545441061343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449595488850485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54413638048885E-3</c:v>
                </c:pt>
                <c:pt idx="3">
                  <c:v>0.995045586361951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3008046483437867E-2</c:v>
                </c:pt>
                <c:pt idx="3">
                  <c:v>0.9569919535165621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9767787839838E-2</c:v>
                </c:pt>
                <c:pt idx="3">
                  <c:v>0.989140166698993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9354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6879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708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4657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3280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29302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17927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68822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8495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01284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28030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017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25952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72628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55694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6035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46654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73055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9243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066673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42873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852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4643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6728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22078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09520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398975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50432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9611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6511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03745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8900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0761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619730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29378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89431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819377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02600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61859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19984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621041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8352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91243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5997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97187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316799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607692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106174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59810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87808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149295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126065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7779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05132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46833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840728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311844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0675426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5217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968620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2889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137229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4577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4930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020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587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249</Words>
  <Application>Microsoft Office PowerPoint</Application>
  <PresentationFormat>On-screen Show (16:9)</PresentationFormat>
  <Paragraphs>1100</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2:3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